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4A5A694-5820-467E-B30B-6993428A9FD7}" v="49" dt="2023-03-15T23:34:18.3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6" d="100"/>
          <a:sy n="116" d="100"/>
        </p:scale>
        <p:origin x="120" y="58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4A5A694-5820-467E-B30B-6993428A9FD7}"/>
    <pc:docChg chg="modSld">
      <pc:chgData name="Roberto Gallardo" userId="49a044883f185952" providerId="LiveId" clId="{F4A5A694-5820-467E-B30B-6993428A9FD7}" dt="2023-03-15T23:34:27.333" v="186" actId="1076"/>
      <pc:docMkLst>
        <pc:docMk/>
      </pc:docMkLst>
      <pc:sldChg chg="addSp modSp mod">
        <pc:chgData name="Roberto Gallardo" userId="49a044883f185952" providerId="LiveId" clId="{F4A5A694-5820-467E-B30B-6993428A9FD7}" dt="2023-03-15T23:29:31.185" v="8" actId="1076"/>
        <pc:sldMkLst>
          <pc:docMk/>
          <pc:sldMk cId="1418533539" sldId="271"/>
        </pc:sldMkLst>
        <pc:picChg chg="add mod">
          <ac:chgData name="Roberto Gallardo" userId="49a044883f185952" providerId="LiveId" clId="{F4A5A694-5820-467E-B30B-6993428A9FD7}" dt="2023-03-15T23:29:31.185" v="8" actId="1076"/>
          <ac:picMkLst>
            <pc:docMk/>
            <pc:sldMk cId="1418533539" sldId="271"/>
            <ac:picMk id="6" creationId="{E6C84A1E-7FA9-F41B-363B-C9C790538811}"/>
          </ac:picMkLst>
        </pc:picChg>
      </pc:sldChg>
      <pc:sldChg chg="addSp modSp mod">
        <pc:chgData name="Roberto Gallardo" userId="49a044883f185952" providerId="LiveId" clId="{F4A5A694-5820-467E-B30B-6993428A9FD7}" dt="2023-03-15T23:31:00.502" v="58" actId="1076"/>
        <pc:sldMkLst>
          <pc:docMk/>
          <pc:sldMk cId="2124848710" sldId="281"/>
        </pc:sldMkLst>
        <pc:picChg chg="add mod">
          <ac:chgData name="Roberto Gallardo" userId="49a044883f185952" providerId="LiveId" clId="{F4A5A694-5820-467E-B30B-6993428A9FD7}" dt="2023-03-15T23:31:00.502" v="58" actId="1076"/>
          <ac:picMkLst>
            <pc:docMk/>
            <pc:sldMk cId="2124848710" sldId="281"/>
            <ac:picMk id="6" creationId="{3900947C-518F-F1A3-8C10-33E703FC92FE}"/>
          </ac:picMkLst>
        </pc:picChg>
      </pc:sldChg>
      <pc:sldChg chg="addSp modSp mod">
        <pc:chgData name="Roberto Gallardo" userId="49a044883f185952" providerId="LiveId" clId="{F4A5A694-5820-467E-B30B-6993428A9FD7}" dt="2023-03-15T23:31:14.478" v="67" actId="1076"/>
        <pc:sldMkLst>
          <pc:docMk/>
          <pc:sldMk cId="2028175529" sldId="282"/>
        </pc:sldMkLst>
        <pc:picChg chg="add mod">
          <ac:chgData name="Roberto Gallardo" userId="49a044883f185952" providerId="LiveId" clId="{F4A5A694-5820-467E-B30B-6993428A9FD7}" dt="2023-03-15T23:31:14.478" v="67" actId="1076"/>
          <ac:picMkLst>
            <pc:docMk/>
            <pc:sldMk cId="2028175529" sldId="282"/>
            <ac:picMk id="7" creationId="{108E7AA9-33D5-A773-58AF-2381F360C03B}"/>
          </ac:picMkLst>
        </pc:picChg>
      </pc:sldChg>
      <pc:sldChg chg="addSp modSp mod">
        <pc:chgData name="Roberto Gallardo" userId="49a044883f185952" providerId="LiveId" clId="{F4A5A694-5820-467E-B30B-6993428A9FD7}" dt="2023-03-15T23:31:29.478" v="79" actId="1076"/>
        <pc:sldMkLst>
          <pc:docMk/>
          <pc:sldMk cId="1326517747" sldId="283"/>
        </pc:sldMkLst>
        <pc:picChg chg="add mod">
          <ac:chgData name="Roberto Gallardo" userId="49a044883f185952" providerId="LiveId" clId="{F4A5A694-5820-467E-B30B-6993428A9FD7}" dt="2023-03-15T23:31:29.478" v="79" actId="1076"/>
          <ac:picMkLst>
            <pc:docMk/>
            <pc:sldMk cId="1326517747" sldId="283"/>
            <ac:picMk id="7" creationId="{B367E9B3-7894-FF6C-41E7-7AE4C54A3B82}"/>
          </ac:picMkLst>
        </pc:picChg>
      </pc:sldChg>
      <pc:sldChg chg="addSp modSp mod">
        <pc:chgData name="Roberto Gallardo" userId="49a044883f185952" providerId="LiveId" clId="{F4A5A694-5820-467E-B30B-6993428A9FD7}" dt="2023-03-15T23:31:47.030" v="93" actId="1076"/>
        <pc:sldMkLst>
          <pc:docMk/>
          <pc:sldMk cId="783739251" sldId="284"/>
        </pc:sldMkLst>
        <pc:picChg chg="add mod">
          <ac:chgData name="Roberto Gallardo" userId="49a044883f185952" providerId="LiveId" clId="{F4A5A694-5820-467E-B30B-6993428A9FD7}" dt="2023-03-15T23:31:47.030" v="93" actId="1076"/>
          <ac:picMkLst>
            <pc:docMk/>
            <pc:sldMk cId="783739251" sldId="284"/>
            <ac:picMk id="7" creationId="{F4DF5E5A-43E5-C027-B98A-49AB7CC20EB3}"/>
          </ac:picMkLst>
        </pc:picChg>
      </pc:sldChg>
      <pc:sldChg chg="addSp modSp mod">
        <pc:chgData name="Roberto Gallardo" userId="49a044883f185952" providerId="LiveId" clId="{F4A5A694-5820-467E-B30B-6993428A9FD7}" dt="2023-03-15T23:32:25.810" v="103" actId="1076"/>
        <pc:sldMkLst>
          <pc:docMk/>
          <pc:sldMk cId="1676122233" sldId="285"/>
        </pc:sldMkLst>
        <pc:picChg chg="add mod">
          <ac:chgData name="Roberto Gallardo" userId="49a044883f185952" providerId="LiveId" clId="{F4A5A694-5820-467E-B30B-6993428A9FD7}" dt="2023-03-15T23:32:25.810" v="103" actId="1076"/>
          <ac:picMkLst>
            <pc:docMk/>
            <pc:sldMk cId="1676122233" sldId="285"/>
            <ac:picMk id="7" creationId="{F5916F14-0D2A-E802-B753-CE8CF5E7C6AA}"/>
          </ac:picMkLst>
        </pc:picChg>
      </pc:sldChg>
      <pc:sldChg chg="addSp modSp mod">
        <pc:chgData name="Roberto Gallardo" userId="49a044883f185952" providerId="LiveId" clId="{F4A5A694-5820-467E-B30B-6993428A9FD7}" dt="2023-03-15T23:32:44.234" v="117" actId="1076"/>
        <pc:sldMkLst>
          <pc:docMk/>
          <pc:sldMk cId="3100398757" sldId="286"/>
        </pc:sldMkLst>
        <pc:picChg chg="add mod">
          <ac:chgData name="Roberto Gallardo" userId="49a044883f185952" providerId="LiveId" clId="{F4A5A694-5820-467E-B30B-6993428A9FD7}" dt="2023-03-15T23:32:44.234" v="117" actId="1076"/>
          <ac:picMkLst>
            <pc:docMk/>
            <pc:sldMk cId="3100398757" sldId="286"/>
            <ac:picMk id="7" creationId="{42039EFE-B646-07CB-02CA-587024D88B8E}"/>
          </ac:picMkLst>
        </pc:picChg>
      </pc:sldChg>
      <pc:sldChg chg="addSp modSp mod">
        <pc:chgData name="Roberto Gallardo" userId="49a044883f185952" providerId="LiveId" clId="{F4A5A694-5820-467E-B30B-6993428A9FD7}" dt="2023-03-15T23:32:57.290" v="126" actId="1076"/>
        <pc:sldMkLst>
          <pc:docMk/>
          <pc:sldMk cId="1546475425" sldId="287"/>
        </pc:sldMkLst>
        <pc:picChg chg="add mod">
          <ac:chgData name="Roberto Gallardo" userId="49a044883f185952" providerId="LiveId" clId="{F4A5A694-5820-467E-B30B-6993428A9FD7}" dt="2023-03-15T23:32:57.290" v="126" actId="1076"/>
          <ac:picMkLst>
            <pc:docMk/>
            <pc:sldMk cId="1546475425" sldId="287"/>
            <ac:picMk id="7" creationId="{F399E5DA-F2B0-564A-A12A-5BBDF71C66FF}"/>
          </ac:picMkLst>
        </pc:picChg>
      </pc:sldChg>
      <pc:sldChg chg="addSp modSp mod">
        <pc:chgData name="Roberto Gallardo" userId="49a044883f185952" providerId="LiveId" clId="{F4A5A694-5820-467E-B30B-6993428A9FD7}" dt="2023-03-15T23:33:25.082" v="145" actId="1076"/>
        <pc:sldMkLst>
          <pc:docMk/>
          <pc:sldMk cId="1380517306" sldId="288"/>
        </pc:sldMkLst>
        <pc:picChg chg="add mod">
          <ac:chgData name="Roberto Gallardo" userId="49a044883f185952" providerId="LiveId" clId="{F4A5A694-5820-467E-B30B-6993428A9FD7}" dt="2023-03-15T23:33:25.082" v="145" actId="1076"/>
          <ac:picMkLst>
            <pc:docMk/>
            <pc:sldMk cId="1380517306" sldId="288"/>
            <ac:picMk id="7" creationId="{131B6D48-584D-E479-A65C-0CA5584DE17C}"/>
          </ac:picMkLst>
        </pc:picChg>
      </pc:sldChg>
      <pc:sldChg chg="addSp modSp mod">
        <pc:chgData name="Roberto Gallardo" userId="49a044883f185952" providerId="LiveId" clId="{F4A5A694-5820-467E-B30B-6993428A9FD7}" dt="2023-03-15T23:33:38.666" v="154" actId="1076"/>
        <pc:sldMkLst>
          <pc:docMk/>
          <pc:sldMk cId="1388671151" sldId="289"/>
        </pc:sldMkLst>
        <pc:picChg chg="add mod">
          <ac:chgData name="Roberto Gallardo" userId="49a044883f185952" providerId="LiveId" clId="{F4A5A694-5820-467E-B30B-6993428A9FD7}" dt="2023-03-15T23:33:38.666" v="154" actId="1076"/>
          <ac:picMkLst>
            <pc:docMk/>
            <pc:sldMk cId="1388671151" sldId="289"/>
            <ac:picMk id="7" creationId="{6F535395-AE7A-CE3A-984F-7F173DECB51B}"/>
          </ac:picMkLst>
        </pc:picChg>
      </pc:sldChg>
      <pc:sldChg chg="addSp modSp mod">
        <pc:chgData name="Roberto Gallardo" userId="49a044883f185952" providerId="LiveId" clId="{F4A5A694-5820-467E-B30B-6993428A9FD7}" dt="2023-03-15T23:34:11.118" v="177" actId="1076"/>
        <pc:sldMkLst>
          <pc:docMk/>
          <pc:sldMk cId="2355376039" sldId="290"/>
        </pc:sldMkLst>
        <pc:picChg chg="add mod">
          <ac:chgData name="Roberto Gallardo" userId="49a044883f185952" providerId="LiveId" clId="{F4A5A694-5820-467E-B30B-6993428A9FD7}" dt="2023-03-15T23:34:11.118" v="177" actId="1076"/>
          <ac:picMkLst>
            <pc:docMk/>
            <pc:sldMk cId="2355376039" sldId="290"/>
            <ac:picMk id="8" creationId="{986FB15C-92F8-4BFA-ADEE-56B3D9B157A8}"/>
          </ac:picMkLst>
        </pc:picChg>
      </pc:sldChg>
      <pc:sldChg chg="addSp modSp mod">
        <pc:chgData name="Roberto Gallardo" userId="49a044883f185952" providerId="LiveId" clId="{F4A5A694-5820-467E-B30B-6993428A9FD7}" dt="2023-03-15T23:34:27.333" v="186" actId="1076"/>
        <pc:sldMkLst>
          <pc:docMk/>
          <pc:sldMk cId="3757257295" sldId="291"/>
        </pc:sldMkLst>
        <pc:picChg chg="add mod">
          <ac:chgData name="Roberto Gallardo" userId="49a044883f185952" providerId="LiveId" clId="{F4A5A694-5820-467E-B30B-6993428A9FD7}" dt="2023-03-15T23:34:27.333" v="186" actId="1076"/>
          <ac:picMkLst>
            <pc:docMk/>
            <pc:sldMk cId="3757257295" sldId="291"/>
            <ac:picMk id="8" creationId="{368F1FBE-8AE2-A1D9-AB04-0533B999BEF7}"/>
          </ac:picMkLst>
        </pc:picChg>
      </pc:sldChg>
      <pc:sldChg chg="addSp modSp mod">
        <pc:chgData name="Roberto Gallardo" userId="49a044883f185952" providerId="LiveId" clId="{F4A5A694-5820-467E-B30B-6993428A9FD7}" dt="2023-03-15T23:33:09.801" v="135" actId="1076"/>
        <pc:sldMkLst>
          <pc:docMk/>
          <pc:sldMk cId="1259856727" sldId="292"/>
        </pc:sldMkLst>
        <pc:picChg chg="add mod">
          <ac:chgData name="Roberto Gallardo" userId="49a044883f185952" providerId="LiveId" clId="{F4A5A694-5820-467E-B30B-6993428A9FD7}" dt="2023-03-15T23:33:09.801" v="135" actId="1076"/>
          <ac:picMkLst>
            <pc:docMk/>
            <pc:sldMk cId="1259856727" sldId="292"/>
            <ac:picMk id="7" creationId="{1725036C-47FE-605A-1FCC-323A466FF94E}"/>
          </ac:picMkLst>
        </pc:picChg>
      </pc:sldChg>
      <pc:sldChg chg="addSp modSp mod">
        <pc:chgData name="Roberto Gallardo" userId="49a044883f185952" providerId="LiveId" clId="{F4A5A694-5820-467E-B30B-6993428A9FD7}" dt="2023-03-15T23:30:46.658" v="50" actId="1076"/>
        <pc:sldMkLst>
          <pc:docMk/>
          <pc:sldMk cId="3324519687" sldId="293"/>
        </pc:sldMkLst>
        <pc:picChg chg="add mod">
          <ac:chgData name="Roberto Gallardo" userId="49a044883f185952" providerId="LiveId" clId="{F4A5A694-5820-467E-B30B-6993428A9FD7}" dt="2023-03-15T23:30:46.658" v="50" actId="1076"/>
          <ac:picMkLst>
            <pc:docMk/>
            <pc:sldMk cId="3324519687" sldId="293"/>
            <ac:picMk id="7" creationId="{B6084FED-D4A5-5F92-71D3-B7BBF80857B3}"/>
          </ac:picMkLst>
        </pc:picChg>
      </pc:sldChg>
      <pc:sldChg chg="addSp modSp mod">
        <pc:chgData name="Roberto Gallardo" userId="49a044883f185952" providerId="LiveId" clId="{F4A5A694-5820-467E-B30B-6993428A9FD7}" dt="2023-03-15T23:30:16.905" v="31" actId="1076"/>
        <pc:sldMkLst>
          <pc:docMk/>
          <pc:sldMk cId="3256182630" sldId="295"/>
        </pc:sldMkLst>
        <pc:picChg chg="add mod">
          <ac:chgData name="Roberto Gallardo" userId="49a044883f185952" providerId="LiveId" clId="{F4A5A694-5820-467E-B30B-6993428A9FD7}" dt="2023-03-15T23:30:16.905" v="31" actId="1076"/>
          <ac:picMkLst>
            <pc:docMk/>
            <pc:sldMk cId="3256182630" sldId="295"/>
            <ac:picMk id="7" creationId="{73A8EC88-0057-A7C3-7E76-1B5A5DAB9E6C}"/>
          </ac:picMkLst>
        </pc:picChg>
      </pc:sldChg>
      <pc:sldChg chg="addSp modSp mod">
        <pc:chgData name="Roberto Gallardo" userId="49a044883f185952" providerId="LiveId" clId="{F4A5A694-5820-467E-B30B-6993428A9FD7}" dt="2023-03-15T23:30:29.945" v="39" actId="1076"/>
        <pc:sldMkLst>
          <pc:docMk/>
          <pc:sldMk cId="4057156843" sldId="296"/>
        </pc:sldMkLst>
        <pc:picChg chg="add mod">
          <ac:chgData name="Roberto Gallardo" userId="49a044883f185952" providerId="LiveId" clId="{F4A5A694-5820-467E-B30B-6993428A9FD7}" dt="2023-03-15T23:30:29.945" v="39" actId="1076"/>
          <ac:picMkLst>
            <pc:docMk/>
            <pc:sldMk cId="4057156843" sldId="296"/>
            <ac:picMk id="7" creationId="{AD72062B-F161-0914-201B-BCDBAF7D45B4}"/>
          </ac:picMkLst>
        </pc:picChg>
      </pc:sldChg>
      <pc:sldChg chg="addSp modSp mod">
        <pc:chgData name="Roberto Gallardo" userId="49a044883f185952" providerId="LiveId" clId="{F4A5A694-5820-467E-B30B-6993428A9FD7}" dt="2023-03-15T23:30:03.818" v="23" actId="1076"/>
        <pc:sldMkLst>
          <pc:docMk/>
          <pc:sldMk cId="2080110827" sldId="297"/>
        </pc:sldMkLst>
        <pc:picChg chg="add mod">
          <ac:chgData name="Roberto Gallardo" userId="49a044883f185952" providerId="LiveId" clId="{F4A5A694-5820-467E-B30B-6993428A9FD7}" dt="2023-03-15T23:30:03.818" v="23" actId="1076"/>
          <ac:picMkLst>
            <pc:docMk/>
            <pc:sldMk cId="2080110827" sldId="297"/>
            <ac:picMk id="6" creationId="{6F257367-F3A9-6B67-E2E5-6221587B50F5}"/>
          </ac:picMkLst>
        </pc:picChg>
      </pc:sldChg>
      <pc:sldChg chg="addSp modSp mod">
        <pc:chgData name="Roberto Gallardo" userId="49a044883f185952" providerId="LiveId" clId="{F4A5A694-5820-467E-B30B-6993428A9FD7}" dt="2023-03-15T23:29:47.834" v="15" actId="1076"/>
        <pc:sldMkLst>
          <pc:docMk/>
          <pc:sldMk cId="1532666867" sldId="298"/>
        </pc:sldMkLst>
        <pc:picChg chg="add mod">
          <ac:chgData name="Roberto Gallardo" userId="49a044883f185952" providerId="LiveId" clId="{F4A5A694-5820-467E-B30B-6993428A9FD7}" dt="2023-03-15T23:29:47.834" v="15" actId="1076"/>
          <ac:picMkLst>
            <pc:docMk/>
            <pc:sldMk cId="1532666867" sldId="298"/>
            <ac:picMk id="6" creationId="{7AB82471-2A39-33D2-643A-6D32D3538A2D}"/>
          </ac:picMkLst>
        </pc:picChg>
      </pc:sldChg>
      <pc:sldChg chg="addSp modSp mod">
        <pc:chgData name="Roberto Gallardo" userId="49a044883f185952" providerId="LiveId" clId="{F4A5A694-5820-467E-B30B-6993428A9FD7}" dt="2023-03-15T23:33:56.258" v="168" actId="1076"/>
        <pc:sldMkLst>
          <pc:docMk/>
          <pc:sldMk cId="1951376777" sldId="299"/>
        </pc:sldMkLst>
        <pc:picChg chg="add mod">
          <ac:chgData name="Roberto Gallardo" userId="49a044883f185952" providerId="LiveId" clId="{F4A5A694-5820-467E-B30B-6993428A9FD7}" dt="2023-03-15T23:33:56.258" v="168" actId="1076"/>
          <ac:picMkLst>
            <pc:docMk/>
            <pc:sldMk cId="1951376777" sldId="299"/>
            <ac:picMk id="7" creationId="{479FA5C5-74EF-2EF9-3A28-9A62DAFFE13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Jackson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66AE419-82EC-4D2B-B27D-EF3AB70A0BBF}"/>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5734951A-411C-B596-847E-2773E3E1A7CF}"/>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E6C84A1E-7FA9-F41B-363B-C9C7905388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675" y="1028700"/>
            <a:ext cx="7596450" cy="5371884"/>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AB82471-2A39-33D2-643A-6D32D3538A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6F257367-F3A9-6B67-E2E5-6221587B50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F9BBE30-E888-E805-3C5E-25EBB162DF22}"/>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73A8EC88-0057-A7C3-7E76-1B5A5DAB9E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C22DDC9-80DB-F0DB-02B0-12242DCBF130}"/>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AD72062B-F161-0914-201B-BCDBAF7D45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B659E9BA-F211-B527-DCE9-2BED1CBE0C00}"/>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B6084FED-D4A5-5F92-71D3-B7BBF80857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4BD44B4-BD4F-408E-88BF-21020FBC56A0}"/>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3900947C-518F-F1A3-8C10-33E703FC92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E9D1DB4-6E57-25EC-FD7C-57492A0338CD}"/>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108E7AA9-33D5-A773-58AF-2381F360C0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A8CCEE9-1682-06F5-9644-A722F1DCD183}"/>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B367E9B3-7894-FF6C-41E7-7AE4C54A3B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8EE5ED9-8663-6097-F64F-7D1A502FC9B4}"/>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F4DF5E5A-43E5-C027-B98A-49AB7CC20E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849A959-06DC-F927-C9B4-78268BEE427D}"/>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F5916F14-0D2A-E802-B753-CE8CF5E7C6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D379C85-803D-CBB6-2DAC-1BC501AEEE5C}"/>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42039EFE-B646-07CB-02CA-587024D88B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2799174-FAB4-7C67-4B46-5FCE10E68029}"/>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F399E5DA-F2B0-564A-A12A-5BBDF71C66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32861F1-A5BF-539D-973E-B3617E6D903D}"/>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1725036C-47FE-605A-1FCC-323A466FF9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4"/>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4304E67-66FD-86FE-482A-B602E5B34E74}"/>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131B6D48-584D-E479-A65C-0CA5584DE1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0245CE1-88D6-9B1C-C0E9-664FF006F584}"/>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6F535395-AE7A-CE3A-984F-7F173DECB5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632FB7C6-0707-B63F-CCFD-6BCF14E04768}"/>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479FA5C5-74EF-2EF9-3A28-9A62DAFFE1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2A2EE17-E0D0-3B28-1AA5-37B63E699E8F}"/>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986FB15C-92F8-4BFA-ADEE-56B3D9B157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D20B9B86-F0B6-8C43-F598-F625CFDDB01C}"/>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9E0D1831-1559-9514-8F96-8E492E996AFD}"/>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368F1FBE-8AE2-A1D9-AB04-0533B999BE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8E72E3BD-DD08-1EB5-F6C5-3352D204AD9D}"/>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5B5EB38-DD79-0592-786F-7B0316ADE936}"/>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46F168A-4015-9F18-9720-4A2EF7F17224}"/>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1987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743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6688" y="2076647"/>
            <a:ext cx="1198148" cy="2713641"/>
            <a:chOff x="10485745" y="2176670"/>
            <a:chExt cx="1198148" cy="2713641"/>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01336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7.0</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17667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176670"/>
              <a:ext cx="0" cy="83669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905918"/>
              <a:ext cx="0" cy="98439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372993"/>
            <a:ext cx="1198148" cy="2379013"/>
            <a:chOff x="2775759" y="2165794"/>
            <a:chExt cx="1198148" cy="2379013"/>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5928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6579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65794"/>
              <a:ext cx="0" cy="79349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1840"/>
              <a:ext cx="0" cy="69296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20474245-65FE-014E-04A5-105F78E384B5}"/>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F9FEE7D6-4E3F-5D4A-61ED-DF3F75646B35}"/>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0002B06-C047-DFBE-B9F7-DC11B7A9B6BD}"/>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63EDBFA-DBD6-B69A-003D-7894F8C3815A}"/>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E8C1836-48AA-3A98-A622-FA2D64928BC8}"/>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392A911-2EBD-88EB-AF49-DBB405572526}"/>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0BE94E6-DCD1-3827-68AA-5AE515EEE632}"/>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182A189-9D11-7294-7F74-3ACE54CEBD38}"/>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46</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2</cp:revision>
  <dcterms:created xsi:type="dcterms:W3CDTF">2022-07-04T13:32:28Z</dcterms:created>
  <dcterms:modified xsi:type="dcterms:W3CDTF">2023-03-15T23:34:27Z</dcterms:modified>
</cp:coreProperties>
</file>